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3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custSel modSld">
      <pc:chgData name="Weigel Stefan (PAR-EPS)" userId="fd3b2067-2981-4ad8-bf3a-d2e1004e4fa8" providerId="ADAL" clId="{A4CFA2F4-FF8D-446B-B271-6DF568DBEADA}" dt="2026-02-12T15:17:51.799" v="42" actId="27918"/>
      <pc:docMkLst>
        <pc:docMk/>
      </pc:docMkLst>
      <pc:sldChg chg="delSp modSp mod">
        <pc:chgData name="Weigel Stefan (PAR-EPS)" userId="fd3b2067-2981-4ad8-bf3a-d2e1004e4fa8" providerId="ADAL" clId="{A4CFA2F4-FF8D-446B-B271-6DF568DBEADA}" dt="2026-02-12T15:17:51.799" v="42" actId="27918"/>
        <pc:sldMkLst>
          <pc:docMk/>
          <pc:sldMk cId="3064315074" sldId="413"/>
        </pc:sldMkLst>
        <pc:spChg chg="mod">
          <ac:chgData name="Weigel Stefan (PAR-EPS)" userId="fd3b2067-2981-4ad8-bf3a-d2e1004e4fa8" providerId="ADAL" clId="{A4CFA2F4-FF8D-446B-B271-6DF568DBEADA}" dt="2026-01-23T14:50:39.782" v="1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23T15:03:37.381" v="25"/>
          <ac:spMkLst>
            <pc:docMk/>
            <pc:sldMk cId="3064315074" sldId="413"/>
            <ac:spMk id="11" creationId="{51A102DA-4F4E-474F-9E16-1E7F70764A16}"/>
          </ac:spMkLst>
        </pc:spChg>
        <pc:graphicFrameChg chg="mod">
          <ac:chgData name="Weigel Stefan (PAR-EPS)" userId="fd3b2067-2981-4ad8-bf3a-d2e1004e4fa8" providerId="ADAL" clId="{A4CFA2F4-FF8D-446B-B271-6DF568DBEADA}" dt="2026-01-23T14:55:50.421" v="21"/>
          <ac:graphicFrameMkLst>
            <pc:docMk/>
            <pc:sldMk cId="3064315074" sldId="413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05314246640004"/>
          <c:y val="7.3385318018543436E-2"/>
          <c:w val="0.6627477512207226"/>
          <c:h val="0.746359198157393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M$2</c:f>
              <c:strCache>
                <c:ptCount val="1"/>
                <c:pt idx="0">
                  <c:v>Reisezüg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BF1-4D28-9DD1-CD364BE911F1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D3-4173-BA61-02D90522C88D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9E-497F-A34D-97238F57BACC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CD93-4B29-9127-5E38DFA061D2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8-35D3-4173-BA61-02D90522C88D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19E-497F-A34D-97238F57BACC}"/>
              </c:ext>
            </c:extLst>
          </c:dPt>
          <c:cat>
            <c:strRef>
              <c:f>data!$L$3:$L$16</c:f>
              <c:strCache>
                <c:ptCount val="14"/>
                <c:pt idx="0">
                  <c:v>OSE (GR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SNCF Réseau (FR)</c:v>
                </c:pt>
                <c:pt idx="6">
                  <c:v>Trafikverket (SE)</c:v>
                </c:pt>
                <c:pt idx="7">
                  <c:v>SZDC (CZ)</c:v>
                </c:pt>
                <c:pt idx="8">
                  <c:v>FS (IT)</c:v>
                </c:pt>
                <c:pt idx="9">
                  <c:v>Infrabel (BE)</c:v>
                </c:pt>
                <c:pt idx="10">
                  <c:v>ÖBB (AT)</c:v>
                </c:pt>
                <c:pt idx="11">
                  <c:v>DB AG (DE)</c:v>
                </c:pt>
                <c:pt idx="12">
                  <c:v>ProRail (NL)</c:v>
                </c:pt>
                <c:pt idx="13">
                  <c:v>SBB (CH)</c:v>
                </c:pt>
              </c:strCache>
            </c:strRef>
          </c:cat>
          <c:val>
            <c:numRef>
              <c:f>data!$M$3:$M$16</c:f>
              <c:numCache>
                <c:formatCode>0.00</c:formatCode>
                <c:ptCount val="14"/>
                <c:pt idx="0">
                  <c:v>11.252081492302199</c:v>
                </c:pt>
                <c:pt idx="1">
                  <c:v>16.719168403461101</c:v>
                </c:pt>
                <c:pt idx="2">
                  <c:v>16.560656661539401</c:v>
                </c:pt>
                <c:pt idx="3">
                  <c:v>31.442144743295099</c:v>
                </c:pt>
                <c:pt idx="4">
                  <c:v>29.2914167312363</c:v>
                </c:pt>
                <c:pt idx="5">
                  <c:v>38.068289116684703</c:v>
                </c:pt>
                <c:pt idx="6">
                  <c:v>34.669383139846602</c:v>
                </c:pt>
                <c:pt idx="7">
                  <c:v>41.6557803733429</c:v>
                </c:pt>
                <c:pt idx="8">
                  <c:v>51.269371444093601</c:v>
                </c:pt>
                <c:pt idx="9">
                  <c:v>63.044588939120999</c:v>
                </c:pt>
                <c:pt idx="10">
                  <c:v>67.679849808449106</c:v>
                </c:pt>
                <c:pt idx="11">
                  <c:v>69.207671492607304</c:v>
                </c:pt>
                <c:pt idx="12">
                  <c:v>127.374980292171</c:v>
                </c:pt>
                <c:pt idx="13">
                  <c:v>139.4562960602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19E-497F-A34D-97238F57BACC}"/>
            </c:ext>
          </c:extLst>
        </c:ser>
        <c:ser>
          <c:idx val="1"/>
          <c:order val="1"/>
          <c:tx>
            <c:strRef>
              <c:f>data!$N$2</c:f>
              <c:strCache>
                <c:ptCount val="1"/>
                <c:pt idx="0">
                  <c:v>Güterzüge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CD93-4B29-9127-5E38DFA061D2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7-35D3-4173-BA61-02D90522C88D}"/>
              </c:ext>
            </c:extLst>
          </c:dPt>
          <c:cat>
            <c:strRef>
              <c:f>data!$L$3:$L$16</c:f>
              <c:strCache>
                <c:ptCount val="14"/>
                <c:pt idx="0">
                  <c:v>OSE (GR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SNCF Réseau (FR)</c:v>
                </c:pt>
                <c:pt idx="6">
                  <c:v>Trafikverket (SE)</c:v>
                </c:pt>
                <c:pt idx="7">
                  <c:v>SZDC (CZ)</c:v>
                </c:pt>
                <c:pt idx="8">
                  <c:v>FS (IT)</c:v>
                </c:pt>
                <c:pt idx="9">
                  <c:v>Infrabel (BE)</c:v>
                </c:pt>
                <c:pt idx="10">
                  <c:v>ÖBB (AT)</c:v>
                </c:pt>
                <c:pt idx="11">
                  <c:v>DB AG (DE)</c:v>
                </c:pt>
                <c:pt idx="12">
                  <c:v>ProRail (NL)</c:v>
                </c:pt>
                <c:pt idx="13">
                  <c:v>SBB (CH)</c:v>
                </c:pt>
              </c:strCache>
            </c:strRef>
          </c:cat>
          <c:val>
            <c:numRef>
              <c:f>data!$N$3:$N$16</c:f>
              <c:numCache>
                <c:formatCode>0.00</c:formatCode>
                <c:ptCount val="14"/>
                <c:pt idx="0">
                  <c:v>1.1271618965175201</c:v>
                </c:pt>
                <c:pt idx="1">
                  <c:v>5.6141799856754799</c:v>
                </c:pt>
                <c:pt idx="2">
                  <c:v>5.8714299571802702</c:v>
                </c:pt>
                <c:pt idx="3">
                  <c:v>4.3077073439760696</c:v>
                </c:pt>
                <c:pt idx="4">
                  <c:v>11.5074770233525</c:v>
                </c:pt>
                <c:pt idx="5">
                  <c:v>6.7179333735325901</c:v>
                </c:pt>
                <c:pt idx="6">
                  <c:v>10.446652611283</c:v>
                </c:pt>
                <c:pt idx="7">
                  <c:v>9.9496337237202006</c:v>
                </c:pt>
                <c:pt idx="8">
                  <c:v>8.0561312311801903</c:v>
                </c:pt>
                <c:pt idx="9">
                  <c:v>6.9465499091667899</c:v>
                </c:pt>
                <c:pt idx="10">
                  <c:v>21.833966028309</c:v>
                </c:pt>
                <c:pt idx="11">
                  <c:v>20.801279822619001</c:v>
                </c:pt>
                <c:pt idx="12">
                  <c:v>9.5943718946092904</c:v>
                </c:pt>
                <c:pt idx="13">
                  <c:v>22.505326399370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9E-497F-A34D-97238F57BA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59135488"/>
        <c:axId val="59112832"/>
      </c:barChart>
      <c:valAx>
        <c:axId val="59112832"/>
        <c:scaling>
          <c:orientation val="minMax"/>
          <c:max val="2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59135488"/>
        <c:crosses val="autoZero"/>
        <c:crossBetween val="between"/>
        <c:majorUnit val="50"/>
      </c:valAx>
      <c:catAx>
        <c:axId val="59135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59112832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18638312256516215"/>
          <c:y val="0.88185825591518729"/>
          <c:w val="0.27623831443418145"/>
          <c:h val="5.4723184121952026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564</cdr:x>
      <cdr:y>0.0141</cdr:y>
    </cdr:from>
    <cdr:to>
      <cdr:x>0.9029</cdr:x>
      <cdr:y>0.06743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10046768" y="63972"/>
          <a:ext cx="68024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>
              <a:solidFill>
                <a:schemeClr val="tx2"/>
              </a:solidFill>
            </a:rPr>
            <a:t>Zugdicht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7BD3A32-863E-497D-9FA4-FE04E53F3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7BD3A32-863E-497D-9FA4-FE04E53F3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4EFEE514-0EE2-4596-96E1-488544687B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reckennetzbelastung in Europa im 2024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437821242"/>
              </p:ext>
            </p:extLst>
          </p:nvPr>
        </p:nvGraphicFramePr>
        <p:xfrm>
          <a:off x="1" y="1583795"/>
          <a:ext cx="11880668" cy="4537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51A102DA-4F4E-474F-9E16-1E7F70764A16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lvl="0">
              <a:defRPr/>
            </a:pP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Quellen: UIC,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</a:t>
            </a:r>
            <a:r>
              <a:rPr lang="fr-FR" sz="900" kern="0" dirty="0">
                <a:solidFill>
                  <a:schemeClr val="tx2"/>
                </a:solidFill>
              </a:rPr>
              <a:t>CFR </a:t>
            </a:r>
            <a:r>
              <a:rPr lang="fr-FR" sz="900" kern="0" dirty="0" err="1">
                <a:solidFill>
                  <a:schemeClr val="tx2"/>
                </a:solidFill>
              </a:rPr>
              <a:t>Infrastructură</a:t>
            </a:r>
            <a:r>
              <a:rPr lang="fr-FR" sz="900" kern="0" dirty="0">
                <a:solidFill>
                  <a:schemeClr val="tx2"/>
                </a:solidFill>
              </a:rPr>
              <a:t>, SNCF Réseau, </a:t>
            </a:r>
            <a:r>
              <a:rPr lang="fr-FR" sz="900" kern="0" dirty="0" err="1">
                <a:solidFill>
                  <a:schemeClr val="tx2"/>
                </a:solidFill>
              </a:rPr>
              <a:t>Infrabel</a:t>
            </a:r>
            <a:r>
              <a:rPr lang="fr-FR" sz="900" kern="0" dirty="0">
                <a:solidFill>
                  <a:schemeClr val="tx2"/>
                </a:solidFill>
              </a:rPr>
              <a:t>, </a:t>
            </a:r>
            <a:r>
              <a:rPr lang="fr-FR" sz="900" kern="0" dirty="0" err="1">
                <a:solidFill>
                  <a:schemeClr val="tx2"/>
                </a:solidFill>
              </a:rPr>
              <a:t>ProRail</a:t>
            </a:r>
            <a:r>
              <a:rPr lang="fr-FR" sz="900" kern="0" dirty="0">
                <a:solidFill>
                  <a:schemeClr val="tx2"/>
                </a:solidFill>
              </a:rPr>
              <a:t>: 2023.</a:t>
            </a:r>
            <a:endParaRPr kumimoji="0" lang="de-CH" sz="9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0D4BB6A-0DD0-4B80-9845-0467B947A6BE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Durchschnittliche Anzahl Züge pro Strecke und Tag auf der Eisenbahninfrastruktur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CB2EBD8C-0882-42C3-B5F5-BA01B7BFF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3943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064315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ZMyL6UQqm685QJIi11w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B06D3AC-9F88-455F-A7C1-D5BA0E118D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5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treckennetzbelastung in Europa im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eckennetzbelastung in Europa im 2023.</dc:title>
  <dc:creator>Meyer Raphael (KOM-PGA-VSF)</dc:creator>
  <cp:lastModifiedBy>Weigel Stefan (PAR-EPS)</cp:lastModifiedBy>
  <cp:revision>24</cp:revision>
  <dcterms:created xsi:type="dcterms:W3CDTF">2020-09-30T11:00:09Z</dcterms:created>
  <dcterms:modified xsi:type="dcterms:W3CDTF">2026-03-03T13:5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